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5.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402" r:id="rId2"/>
    <p:sldId id="403" r:id="rId3"/>
    <p:sldId id="404" r:id="rId4"/>
    <p:sldId id="405" r:id="rId5"/>
    <p:sldId id="406"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958"/>
    <a:srgbClr val="AABFD6"/>
    <a:srgbClr val="FBC14E"/>
    <a:srgbClr val="FDE6B8"/>
    <a:srgbClr val="002C46"/>
    <a:srgbClr val="FDDA95"/>
    <a:srgbClr val="FFFFFF"/>
    <a:srgbClr val="EBEEF2"/>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28557D-AAE1-CB4C-9B85-9CA83F962230}" v="28" dt="2020-08-24T03:24:48.9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61" autoAdjust="0"/>
    <p:restoredTop sz="92771" autoAdjust="0"/>
  </p:normalViewPr>
  <p:slideViewPr>
    <p:cSldViewPr snapToGrid="0">
      <p:cViewPr varScale="1">
        <p:scale>
          <a:sx n="108" d="100"/>
          <a:sy n="108" d="100"/>
        </p:scale>
        <p:origin x="480"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onard Fernando" userId="9602231002f29d14" providerId="LiveId" clId="{9528557D-AAE1-CB4C-9B85-9CA83F962230}"/>
    <pc:docChg chg="custSel delSld modSld">
      <pc:chgData name="Leonard Fernando" userId="9602231002f29d14" providerId="LiveId" clId="{9528557D-AAE1-CB4C-9B85-9CA83F962230}" dt="2020-08-24T03:16:21.743" v="23" actId="14100"/>
      <pc:docMkLst>
        <pc:docMk/>
      </pc:docMkLst>
      <pc:sldChg chg="del">
        <pc:chgData name="Leonard Fernando" userId="9602231002f29d14" providerId="LiveId" clId="{9528557D-AAE1-CB4C-9B85-9CA83F962230}" dt="2020-08-24T03:10:01.436" v="2" actId="2696"/>
        <pc:sldMkLst>
          <pc:docMk/>
          <pc:sldMk cId="2844286603" sldId="392"/>
        </pc:sldMkLst>
      </pc:sldChg>
      <pc:sldChg chg="del">
        <pc:chgData name="Leonard Fernando" userId="9602231002f29d14" providerId="LiveId" clId="{9528557D-AAE1-CB4C-9B85-9CA83F962230}" dt="2020-08-24T03:09:59.831" v="0" actId="2696"/>
        <pc:sldMkLst>
          <pc:docMk/>
          <pc:sldMk cId="2748477053" sldId="397"/>
        </pc:sldMkLst>
      </pc:sldChg>
      <pc:sldChg chg="del">
        <pc:chgData name="Leonard Fernando" userId="9602231002f29d14" providerId="LiveId" clId="{9528557D-AAE1-CB4C-9B85-9CA83F962230}" dt="2020-08-24T03:10:00.848" v="1" actId="2696"/>
        <pc:sldMkLst>
          <pc:docMk/>
          <pc:sldMk cId="667657664" sldId="399"/>
        </pc:sldMkLst>
      </pc:sldChg>
      <pc:sldChg chg="del">
        <pc:chgData name="Leonard Fernando" userId="9602231002f29d14" providerId="LiveId" clId="{9528557D-AAE1-CB4C-9B85-9CA83F962230}" dt="2020-08-24T03:10:01.961" v="3" actId="2696"/>
        <pc:sldMkLst>
          <pc:docMk/>
          <pc:sldMk cId="534358597" sldId="400"/>
        </pc:sldMkLst>
      </pc:sldChg>
      <pc:sldChg chg="del">
        <pc:chgData name="Leonard Fernando" userId="9602231002f29d14" providerId="LiveId" clId="{9528557D-AAE1-CB4C-9B85-9CA83F962230}" dt="2020-08-24T03:10:02.927" v="4" actId="2696"/>
        <pc:sldMkLst>
          <pc:docMk/>
          <pc:sldMk cId="1167718647" sldId="401"/>
        </pc:sldMkLst>
      </pc:sldChg>
      <pc:sldChg chg="addSp delSp modSp mod delAnim">
        <pc:chgData name="Leonard Fernando" userId="9602231002f29d14" providerId="LiveId" clId="{9528557D-AAE1-CB4C-9B85-9CA83F962230}" dt="2020-08-24T03:14:12.971" v="16" actId="1076"/>
        <pc:sldMkLst>
          <pc:docMk/>
          <pc:sldMk cId="860685175" sldId="402"/>
        </pc:sldMkLst>
        <pc:spChg chg="del">
          <ac:chgData name="Leonard Fernando" userId="9602231002f29d14" providerId="LiveId" clId="{9528557D-AAE1-CB4C-9B85-9CA83F962230}" dt="2020-08-24T03:13:50.112" v="10" actId="478"/>
          <ac:spMkLst>
            <pc:docMk/>
            <pc:sldMk cId="860685175" sldId="402"/>
            <ac:spMk id="4" creationId="{E64A096C-A367-254F-8BC4-2025EE570CF2}"/>
          </ac:spMkLst>
        </pc:spChg>
        <pc:spChg chg="add mod">
          <ac:chgData name="Leonard Fernando" userId="9602231002f29d14" providerId="LiveId" clId="{9528557D-AAE1-CB4C-9B85-9CA83F962230}" dt="2020-08-24T03:14:12.971" v="16" actId="1076"/>
          <ac:spMkLst>
            <pc:docMk/>
            <pc:sldMk cId="860685175" sldId="402"/>
            <ac:spMk id="10" creationId="{E5480893-D89A-D34B-BB69-645B33650A09}"/>
          </ac:spMkLst>
        </pc:spChg>
        <pc:graphicFrameChg chg="del">
          <ac:chgData name="Leonard Fernando" userId="9602231002f29d14" providerId="LiveId" clId="{9528557D-AAE1-CB4C-9B85-9CA83F962230}" dt="2020-08-24T03:13:32.127" v="5" actId="478"/>
          <ac:graphicFrameMkLst>
            <pc:docMk/>
            <pc:sldMk cId="860685175" sldId="402"/>
            <ac:graphicFrameMk id="7" creationId="{CAE3F1BB-7639-0844-BD45-9E7585D6BB29}"/>
          </ac:graphicFrameMkLst>
        </pc:graphicFrameChg>
        <pc:graphicFrameChg chg="add mod">
          <ac:chgData name="Leonard Fernando" userId="9602231002f29d14" providerId="LiveId" clId="{9528557D-AAE1-CB4C-9B85-9CA83F962230}" dt="2020-08-24T03:13:42.846" v="7"/>
          <ac:graphicFrameMkLst>
            <pc:docMk/>
            <pc:sldMk cId="860685175" sldId="402"/>
            <ac:graphicFrameMk id="8" creationId="{CAE3F1BB-7639-0844-BD45-9E7585D6BB29}"/>
          </ac:graphicFrameMkLst>
        </pc:graphicFrameChg>
        <pc:graphicFrameChg chg="add mod">
          <ac:chgData name="Leonard Fernando" userId="9602231002f29d14" providerId="LiveId" clId="{9528557D-AAE1-CB4C-9B85-9CA83F962230}" dt="2020-08-24T03:14:04.641" v="14" actId="14100"/>
          <ac:graphicFrameMkLst>
            <pc:docMk/>
            <pc:sldMk cId="860685175" sldId="402"/>
            <ac:graphicFrameMk id="9" creationId="{CAE3F1BB-7639-0844-BD45-9E7585D6BB29}"/>
          </ac:graphicFrameMkLst>
        </pc:graphicFrameChg>
      </pc:sldChg>
      <pc:sldChg chg="addSp delSp modSp mod">
        <pc:chgData name="Leonard Fernando" userId="9602231002f29d14" providerId="LiveId" clId="{9528557D-AAE1-CB4C-9B85-9CA83F962230}" dt="2020-08-24T03:16:21.743" v="23" actId="14100"/>
        <pc:sldMkLst>
          <pc:docMk/>
          <pc:sldMk cId="3495996180" sldId="403"/>
        </pc:sldMkLst>
        <pc:graphicFrameChg chg="add mod">
          <ac:chgData name="Leonard Fernando" userId="9602231002f29d14" providerId="LiveId" clId="{9528557D-AAE1-CB4C-9B85-9CA83F962230}" dt="2020-08-24T03:16:13.398" v="19"/>
          <ac:graphicFrameMkLst>
            <pc:docMk/>
            <pc:sldMk cId="3495996180" sldId="403"/>
            <ac:graphicFrameMk id="6" creationId="{3EA8F878-2349-0A4C-B045-B662375BBC1D}"/>
          </ac:graphicFrameMkLst>
        </pc:graphicFrameChg>
        <pc:graphicFrameChg chg="del">
          <ac:chgData name="Leonard Fernando" userId="9602231002f29d14" providerId="LiveId" clId="{9528557D-AAE1-CB4C-9B85-9CA83F962230}" dt="2020-08-24T03:16:09.079" v="17" actId="478"/>
          <ac:graphicFrameMkLst>
            <pc:docMk/>
            <pc:sldMk cId="3495996180" sldId="403"/>
            <ac:graphicFrameMk id="7" creationId="{3EA8F878-2349-0A4C-B045-B662375BBC1D}"/>
          </ac:graphicFrameMkLst>
        </pc:graphicFrameChg>
        <pc:graphicFrameChg chg="add mod">
          <ac:chgData name="Leonard Fernando" userId="9602231002f29d14" providerId="LiveId" clId="{9528557D-AAE1-CB4C-9B85-9CA83F962230}" dt="2020-08-24T03:16:21.743" v="23" actId="14100"/>
          <ac:graphicFrameMkLst>
            <pc:docMk/>
            <pc:sldMk cId="3495996180" sldId="403"/>
            <ac:graphicFrameMk id="8" creationId="{3EA8F878-2349-0A4C-B045-B662375BBC1D}"/>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d.docs.live.net/9602231002f29d14/Documents/Springboard%20Data%20Analytics%202020/Homework/SWEconomics/Southern%20Water%20Corp%20Economics%20Case%20Study%20MCU%20Student%20Facing%20300520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Average</a:t>
            </a:r>
            <a:r>
              <a:rPr lang="en-US" sz="1100" baseline="0"/>
              <a:t> Water Balancing Market Price vs Market Demand</a:t>
            </a:r>
            <a:endParaRPr lang="en-US"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vg Water Balancing Market Price</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outhern Water Corp Economics Case Study MCU Student Facing 30052020.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MCU Student Facing 30052020.xlsx]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B313-7943-A261-A47009F03025}"/>
            </c:ext>
          </c:extLst>
        </c:ser>
        <c:dLbls>
          <c:showLegendKey val="0"/>
          <c:showVal val="0"/>
          <c:showCatName val="0"/>
          <c:showSerName val="0"/>
          <c:showPercent val="0"/>
          <c:showBubbleSize val="0"/>
        </c:dLbls>
        <c:gapWidth val="150"/>
        <c:axId val="1019000048"/>
        <c:axId val="1019001680"/>
      </c:barChart>
      <c:lineChart>
        <c:grouping val="standard"/>
        <c:varyColors val="0"/>
        <c:ser>
          <c:idx val="1"/>
          <c:order val="1"/>
          <c:tx>
            <c:v>Market Demand</c:v>
          </c:tx>
          <c:spPr>
            <a:ln w="28575" cap="rnd">
              <a:solidFill>
                <a:srgbClr val="FBC14E"/>
              </a:solidFill>
              <a:round/>
            </a:ln>
            <a:effectLst/>
          </c:spPr>
          <c:marker>
            <c:symbol val="circle"/>
            <c:size val="6"/>
            <c:spPr>
              <a:solidFill>
                <a:srgbClr val="92D050"/>
              </a:solidFill>
              <a:ln w="9525">
                <a:noFill/>
              </a:ln>
              <a:effectLst/>
            </c:spPr>
          </c:marker>
          <c:val>
            <c:numRef>
              <c:f>'[Southern Water Corp Economics Case Study MCU Student Facing 30052020.xlsx]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B313-7943-A261-A47009F03025}"/>
            </c:ext>
          </c:extLst>
        </c:ser>
        <c:dLbls>
          <c:showLegendKey val="0"/>
          <c:showVal val="0"/>
          <c:showCatName val="0"/>
          <c:showSerName val="0"/>
          <c:showPercent val="0"/>
          <c:showBubbleSize val="0"/>
        </c:dLbls>
        <c:marker val="1"/>
        <c:smooth val="0"/>
        <c:axId val="971943184"/>
        <c:axId val="1018291536"/>
      </c:lineChart>
      <c:dateAx>
        <c:axId val="10190000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9001680"/>
        <c:crosses val="autoZero"/>
        <c:auto val="1"/>
        <c:lblOffset val="100"/>
        <c:baseTimeUnit val="months"/>
      </c:dateAx>
      <c:valAx>
        <c:axId val="101900168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9000048"/>
        <c:crosses val="autoZero"/>
        <c:crossBetween val="between"/>
        <c:majorUnit val="15"/>
      </c:valAx>
      <c:valAx>
        <c:axId val="101829153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1943184"/>
        <c:crosses val="max"/>
        <c:crossBetween val="between"/>
        <c:majorUnit val="100"/>
      </c:valAx>
      <c:catAx>
        <c:axId val="971943184"/>
        <c:scaling>
          <c:orientation val="minMax"/>
        </c:scaling>
        <c:delete val="1"/>
        <c:axPos val="b"/>
        <c:majorTickMark val="out"/>
        <c:minorTickMark val="none"/>
        <c:tickLblPos val="nextTo"/>
        <c:crossAx val="101829153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Water</a:t>
            </a:r>
            <a:endParaRPr lang="en-US" baseline="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22</c:f>
              <c:strCache>
                <c:ptCount val="1"/>
                <c:pt idx="0">
                  <c:v>Avg. Quantity of Soft Water</c:v>
                </c:pt>
              </c:strCache>
            </c:strRef>
          </c:tx>
          <c:spPr>
            <a:ln w="25400" cap="rnd">
              <a:noFill/>
              <a:round/>
            </a:ln>
            <a:effectLst/>
          </c:spPr>
          <c:marker>
            <c:symbol val="circle"/>
            <c:size val="5"/>
            <c:spPr>
              <a:solidFill>
                <a:srgbClr val="C00000"/>
              </a:solidFill>
              <a:ln w="9525">
                <a:no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Southern Water Corp Economics Case Study MCU Student Facing 30052020.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4175-E24F-B692-976A35237732}"/>
            </c:ext>
          </c:extLst>
        </c:ser>
        <c:dLbls>
          <c:showLegendKey val="0"/>
          <c:showVal val="0"/>
          <c:showCatName val="0"/>
          <c:showSerName val="0"/>
          <c:showPercent val="0"/>
          <c:showBubbleSize val="0"/>
        </c:dLbls>
        <c:axId val="1505177184"/>
        <c:axId val="1505180080"/>
      </c:scatterChart>
      <c:valAx>
        <c:axId val="1505177184"/>
        <c:scaling>
          <c:orientation val="minMax"/>
          <c:min val="4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80080"/>
        <c:crosses val="autoZero"/>
        <c:crossBetween val="midCat"/>
        <c:majorUnit val="4"/>
      </c:valAx>
      <c:valAx>
        <c:axId val="15051800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n-US" sz="800"/>
                  <a:t>Avg.</a:t>
                </a:r>
                <a:r>
                  <a:rPr lang="en-US" sz="800" baseline="0"/>
                  <a:t> Quanitity of Water(Giga-Litres)</a:t>
                </a:r>
                <a:endParaRPr lang="en-US" sz="80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771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a:t>
            </a:r>
            <a:r>
              <a:rPr lang="en-US" baseline="0"/>
              <a:t> </a:t>
            </a:r>
            <a:r>
              <a:rPr lang="en-US"/>
              <a:t>Market Water Demand (Giga-Litr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62</c:f>
              <c:strCache>
                <c:ptCount val="1"/>
                <c:pt idx="0">
                  <c:v>Market Water Demand (Giga-Litres)</c:v>
                </c:pt>
              </c:strCache>
            </c:strRef>
          </c:tx>
          <c:spPr>
            <a:ln w="25400" cap="rnd">
              <a:noFill/>
              <a:round/>
            </a:ln>
            <a:effectLst/>
          </c:spPr>
          <c:marker>
            <c:symbol val="circle"/>
            <c:size val="5"/>
            <c:spPr>
              <a:solidFill>
                <a:srgbClr val="002C46">
                  <a:lumMod val="50000"/>
                  <a:lumOff val="50000"/>
                </a:srgbClr>
              </a:solidFill>
              <a:ln w="9525">
                <a:solidFill>
                  <a:schemeClr val="accent1"/>
                </a:solidFill>
              </a:ln>
              <a:effectLst/>
            </c:spPr>
          </c:marker>
          <c:xVal>
            <c:numRef>
              <c:f>'[Southern Water Corp Economics Case Study MCU Student Facing 30052020.xlsx]Economic Market Analysis'!$A$63:$A$152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Southern Water Corp Economics Case Study MCU Student Facing 30052020.xlsx]Economic Market Analysis'!$B$63:$B$152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DAB7-9F4B-9E62-96088231CA18}"/>
            </c:ext>
          </c:extLst>
        </c:ser>
        <c:dLbls>
          <c:showLegendKey val="0"/>
          <c:showVal val="0"/>
          <c:showCatName val="0"/>
          <c:showSerName val="0"/>
          <c:showPercent val="0"/>
          <c:showBubbleSize val="0"/>
        </c:dLbls>
        <c:axId val="1088093280"/>
        <c:axId val="1123469088"/>
      </c:scatterChart>
      <c:valAx>
        <c:axId val="1088093280"/>
        <c:scaling>
          <c:orientation val="minMax"/>
          <c:max val="225"/>
          <c:min val="1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3469088"/>
        <c:crosses val="autoZero"/>
        <c:crossBetween val="midCat"/>
        <c:majorUnit val="25"/>
      </c:valAx>
      <c:valAx>
        <c:axId val="1123469088"/>
        <c:scaling>
          <c:orientation val="minMax"/>
          <c:max val="4750"/>
          <c:min val="2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Quantity</a:t>
                </a:r>
                <a:r>
                  <a:rPr lang="en-US" sz="900" baseline="0"/>
                  <a:t> of Water(Giga-Litres)</a:t>
                </a:r>
                <a:endParaRPr lang="en-US" sz="900"/>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8093280"/>
        <c:crosses val="autoZero"/>
        <c:crossBetween val="midCat"/>
        <c:majorUnit val="7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rd</a:t>
            </a:r>
            <a:r>
              <a:rPr lang="en-US" baseline="0"/>
              <a:t> Water </a:t>
            </a:r>
            <a:r>
              <a:rPr lang="en-US"/>
              <a:t>Market Demand (Giga-Litr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62</c:f>
              <c:strCache>
                <c:ptCount val="1"/>
                <c:pt idx="0">
                  <c:v>Market Water Demand (Giga-Litres)</c:v>
                </c:pt>
              </c:strCache>
            </c:strRef>
          </c:tx>
          <c:spPr>
            <a:ln w="25400" cap="rnd">
              <a:noFill/>
              <a:round/>
            </a:ln>
            <a:effectLst/>
          </c:spPr>
          <c:marker>
            <c:symbol val="circle"/>
            <c:size val="5"/>
            <c:spPr>
              <a:solidFill>
                <a:srgbClr val="FFE958"/>
              </a:solidFill>
              <a:ln w="9525">
                <a:solidFill>
                  <a:srgbClr val="FBC14E">
                    <a:lumMod val="75000"/>
                  </a:srgbClr>
                </a:solidFill>
              </a:ln>
              <a:effectLst/>
            </c:spPr>
          </c:marker>
          <c:xVal>
            <c:numRef>
              <c:f>'[Southern Water Corp Economics Case Study MCU Student Facing 30052020.xlsx]Economic Market Analysis'!$A$63:$A$152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Southern Water Corp Economics Case Study MCU Student Facing 30052020.xlsx]Economic Market Analysis'!$B$63:$B$152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828F-614D-A356-D33223C480D5}"/>
            </c:ext>
          </c:extLst>
        </c:ser>
        <c:dLbls>
          <c:showLegendKey val="0"/>
          <c:showVal val="0"/>
          <c:showCatName val="0"/>
          <c:showSerName val="0"/>
          <c:showPercent val="0"/>
          <c:showBubbleSize val="0"/>
        </c:dLbls>
        <c:axId val="1088093280"/>
        <c:axId val="1123469088"/>
      </c:scatterChart>
      <c:valAx>
        <c:axId val="1088093280"/>
        <c:scaling>
          <c:orientation val="minMax"/>
          <c:min val="8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3469088"/>
        <c:crosses val="autoZero"/>
        <c:crossBetween val="midCat"/>
        <c:majorUnit val="6"/>
      </c:valAx>
      <c:valAx>
        <c:axId val="1123469088"/>
        <c:scaling>
          <c:orientation val="minMax"/>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Quantity</a:t>
                </a:r>
                <a:r>
                  <a:rPr lang="en-US" sz="900" baseline="0"/>
                  <a:t> of Water(Giga-Litres)</a:t>
                </a:r>
                <a:endParaRPr lang="en-US" sz="900"/>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80932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a:t>
            </a:r>
            <a:r>
              <a:rPr lang="en-US" baseline="0"/>
              <a:t>Water </a:t>
            </a:r>
            <a:r>
              <a:rPr lang="en-US"/>
              <a:t>Market Demand (Giga-Litr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62</c:f>
              <c:strCache>
                <c:ptCount val="1"/>
                <c:pt idx="0">
                  <c:v>Market Water Demand (Giga-Litres)</c:v>
                </c:pt>
              </c:strCache>
            </c:strRef>
          </c:tx>
          <c:spPr>
            <a:ln w="25400" cap="rnd">
              <a:noFill/>
              <a:round/>
            </a:ln>
            <a:effectLst/>
          </c:spPr>
          <c:marker>
            <c:symbol val="circle"/>
            <c:size val="5"/>
            <c:spPr>
              <a:solidFill>
                <a:srgbClr val="FF0000"/>
              </a:solidFill>
              <a:ln w="9525">
                <a:solidFill>
                  <a:srgbClr val="C00000"/>
                </a:solidFill>
              </a:ln>
              <a:effectLst/>
            </c:spPr>
          </c:marker>
          <c:xVal>
            <c:numRef>
              <c:f>'[Southern Water Corp Economics Case Study MCU Student Facing 30052020.xlsx]Economic Market Analysis'!$A$63:$A$152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Southern Water Corp Economics Case Study MCU Student Facing 30052020.xlsx]Economic Market Analysis'!$B$63:$B$152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C796-FF46-8513-627564EA52A3}"/>
            </c:ext>
          </c:extLst>
        </c:ser>
        <c:dLbls>
          <c:showLegendKey val="0"/>
          <c:showVal val="0"/>
          <c:showCatName val="0"/>
          <c:showSerName val="0"/>
          <c:showPercent val="0"/>
          <c:showBubbleSize val="0"/>
        </c:dLbls>
        <c:axId val="1088093280"/>
        <c:axId val="1123469088"/>
      </c:scatterChart>
      <c:valAx>
        <c:axId val="108809328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3469088"/>
        <c:crosses val="autoZero"/>
        <c:crossBetween val="midCat"/>
        <c:majorUnit val="40"/>
      </c:valAx>
      <c:valAx>
        <c:axId val="1123469088"/>
        <c:scaling>
          <c:orientation val="minMax"/>
          <c:min val="1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Quantity</a:t>
                </a:r>
                <a:r>
                  <a:rPr lang="en-US" sz="900" baseline="0"/>
                  <a:t> of Water(Giga-Litres)</a:t>
                </a:r>
                <a:endParaRPr lang="en-US" sz="900"/>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880932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a:t>Which</a:t>
            </a:r>
            <a:r>
              <a:rPr lang="en-US" sz="1000" baseline="0"/>
              <a:t> Quarter has the least Revenue Reduction Opportunities?</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ern Water Corp Economics Case Study MCU Student Facing 30052020.xlsx]What-If Analysis'!$A$41:$A$44</c:f>
              <c:strCache>
                <c:ptCount val="4"/>
                <c:pt idx="0">
                  <c:v>Q1</c:v>
                </c:pt>
                <c:pt idx="1">
                  <c:v>Q2</c:v>
                </c:pt>
                <c:pt idx="2">
                  <c:v>Q3</c:v>
                </c:pt>
                <c:pt idx="3">
                  <c:v>Q4</c:v>
                </c:pt>
              </c:strCache>
            </c:strRef>
          </c:cat>
          <c:val>
            <c:numRef>
              <c:f>'[Southern Water Corp Economics Case Study MCU Student Facing 30052020.xlsx]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52A6-1448-937E-E047FF0EDCDB}"/>
            </c:ext>
          </c:extLst>
        </c:ser>
        <c:dLbls>
          <c:showLegendKey val="0"/>
          <c:showVal val="0"/>
          <c:showCatName val="0"/>
          <c:showSerName val="0"/>
          <c:showPercent val="0"/>
          <c:showBubbleSize val="0"/>
        </c:dLbls>
        <c:gapWidth val="219"/>
        <c:overlap val="-27"/>
        <c:axId val="973793600"/>
        <c:axId val="973796016"/>
      </c:barChart>
      <c:catAx>
        <c:axId val="973793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3796016"/>
        <c:crosses val="autoZero"/>
        <c:auto val="1"/>
        <c:lblAlgn val="ctr"/>
        <c:lblOffset val="100"/>
        <c:noMultiLvlLbl val="0"/>
      </c:catAx>
      <c:valAx>
        <c:axId val="97379601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3793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Aggregate</a:t>
            </a:r>
            <a:r>
              <a:rPr lang="en-US" sz="1200" baseline="0"/>
              <a:t> Cost to Produce vs Kootha, Surjek, and Kootha</a:t>
            </a:r>
            <a:endParaRPr lang="en-US"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a Ctp</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outhern Water Corp Economics Case Study MCU Student Facing 30052020.xlsx]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Southern Water Corp Economics Case Study MCU Student Facing 30052020.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17F8-9744-9F02-189F7B1EC394}"/>
            </c:ext>
          </c:extLst>
        </c:ser>
        <c:ser>
          <c:idx val="1"/>
          <c:order val="1"/>
          <c:tx>
            <c:v>Surjek Ctp</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5"/>
              <c:layout>
                <c:manualLayout>
                  <c:x val="-2.6235829044007047E-2"/>
                  <c:y val="-4.9650515720513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7F8-9744-9F02-189F7B1EC394}"/>
                </c:ext>
              </c:extLst>
            </c:dLbl>
            <c:dLbl>
              <c:idx val="11"/>
              <c:layout>
                <c:manualLayout>
                  <c:x val="-1.3870502316750379E-2"/>
                  <c:y val="4.1015974358213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F8-9744-9F02-189F7B1EC394}"/>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outhern Water Corp Economics Case Study MCU Student Facing 30052020.xlsx]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Southern Water Corp Economics Case Study MCU Student Facing 30052020.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3-17F8-9744-9F02-189F7B1EC394}"/>
            </c:ext>
          </c:extLst>
        </c:ser>
        <c:ser>
          <c:idx val="2"/>
          <c:order val="2"/>
          <c:tx>
            <c:v>Jutik Ctp</c:v>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outhern Water Corp Economics Case Study MCU Student Facing 30052020.xlsx]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Southern Water Corp Economics Case Study MCU Student Facing 30052020.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4-17F8-9744-9F02-189F7B1EC394}"/>
            </c:ext>
          </c:extLst>
        </c:ser>
        <c:ser>
          <c:idx val="3"/>
          <c:order val="3"/>
          <c:tx>
            <c:v>Overall Ctp</c:v>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Southern Water Corp Economics Case Study MCU Student Facing 30052020.xlsx]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Southern Water Corp Economics Case Study MCU Student Facing 30052020.xlsx]Economic Cost Analysis'!$G$60:$R$60</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5-17F8-9744-9F02-189F7B1EC394}"/>
            </c:ext>
          </c:extLst>
        </c:ser>
        <c:dLbls>
          <c:showLegendKey val="0"/>
          <c:showVal val="0"/>
          <c:showCatName val="0"/>
          <c:showSerName val="0"/>
          <c:showPercent val="0"/>
          <c:showBubbleSize val="0"/>
        </c:dLbls>
        <c:marker val="1"/>
        <c:smooth val="0"/>
        <c:axId val="1295680160"/>
        <c:axId val="1295681792"/>
      </c:lineChart>
      <c:dateAx>
        <c:axId val="129568016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95681792"/>
        <c:crosses val="autoZero"/>
        <c:auto val="1"/>
        <c:lblOffset val="100"/>
        <c:baseTimeUnit val="months"/>
      </c:dateAx>
      <c:valAx>
        <c:axId val="129568179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95680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Cost to Produce vs WBMP Market Price</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MCU Student Facing 30052020.xlsx]Economic Cost Analysis'!$B$226</c:f>
              <c:strCache>
                <c:ptCount val="1"/>
                <c:pt idx="0">
                  <c:v>Overall Desalination Cost to Produce ($/M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ern Water Corp Economics Case Study MCU Student Facing 30052020.xlsx]Economic Cost Analysis'!$A$227:$A$229</c:f>
              <c:strCache>
                <c:ptCount val="3"/>
                <c:pt idx="0">
                  <c:v>Kootha</c:v>
                </c:pt>
                <c:pt idx="1">
                  <c:v>Surjek</c:v>
                </c:pt>
                <c:pt idx="2">
                  <c:v>Jutik</c:v>
                </c:pt>
              </c:strCache>
            </c:strRef>
          </c:cat>
          <c:val>
            <c:numRef>
              <c:f>'[Southern Water Corp Economics Case Study MCU Student Facing 30052020.xlsx]Economic Cost Analysis'!$B$227:$B$229</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0C3D-E541-9F83-E13EBA4498E6}"/>
            </c:ext>
          </c:extLst>
        </c:ser>
        <c:dLbls>
          <c:showLegendKey val="0"/>
          <c:showVal val="0"/>
          <c:showCatName val="0"/>
          <c:showSerName val="0"/>
          <c:showPercent val="0"/>
          <c:showBubbleSize val="0"/>
        </c:dLbls>
        <c:gapWidth val="150"/>
        <c:axId val="911958336"/>
        <c:axId val="911617408"/>
      </c:barChart>
      <c:lineChart>
        <c:grouping val="standard"/>
        <c:varyColors val="0"/>
        <c:ser>
          <c:idx val="1"/>
          <c:order val="1"/>
          <c:tx>
            <c:strRef>
              <c:f>'[Southern Water Corp Economics Case Study MCU Student Facing 30052020.xlsx]Economic Cost Analysis'!$C$226</c:f>
              <c:strCache>
                <c:ptCount val="1"/>
                <c:pt idx="0">
                  <c:v>Overall Average WBMP Market Price</c:v>
                </c:pt>
              </c:strCache>
            </c:strRef>
          </c:tx>
          <c:spPr>
            <a:ln w="28575" cap="rnd">
              <a:solidFill>
                <a:schemeClr val="accent2"/>
              </a:solidFill>
              <a:round/>
            </a:ln>
            <a:effectLst/>
          </c:spPr>
          <c:marker>
            <c:symbol val="circle"/>
            <c:size val="5"/>
            <c:spPr>
              <a:solidFill>
                <a:schemeClr val="accent1"/>
              </a:solidFill>
              <a:ln w="9525">
                <a:noFill/>
              </a:ln>
              <a:effectLst/>
            </c:spPr>
          </c:marker>
          <c:val>
            <c:numRef>
              <c:f>'[Southern Water Corp Economics Case Study MCU Student Facing 30052020.xlsx]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0C3D-E541-9F83-E13EBA4498E6}"/>
            </c:ext>
          </c:extLst>
        </c:ser>
        <c:dLbls>
          <c:showLegendKey val="0"/>
          <c:showVal val="0"/>
          <c:showCatName val="0"/>
          <c:showSerName val="0"/>
          <c:showPercent val="0"/>
          <c:showBubbleSize val="0"/>
        </c:dLbls>
        <c:marker val="1"/>
        <c:smooth val="0"/>
        <c:axId val="911958336"/>
        <c:axId val="911617408"/>
      </c:lineChart>
      <c:catAx>
        <c:axId val="911958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11617408"/>
        <c:crosses val="autoZero"/>
        <c:auto val="1"/>
        <c:lblAlgn val="ctr"/>
        <c:lblOffset val="100"/>
        <c:noMultiLvlLbl val="0"/>
      </c:catAx>
      <c:valAx>
        <c:axId val="91161740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119583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Kootha</a:t>
            </a:r>
            <a:r>
              <a:rPr lang="en-US" sz="1200" baseline="0"/>
              <a:t> Scatter Plot(Cost to Produce vs. Volume of Water Produced)</a:t>
            </a:r>
            <a:endParaRPr lang="en-US"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Southern Water Corp Economics Case Study MCU Student Facing 30052020.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AF2F-F446-9B9D-82D1E153D7D9}"/>
            </c:ext>
          </c:extLst>
        </c:ser>
        <c:dLbls>
          <c:showLegendKey val="0"/>
          <c:showVal val="0"/>
          <c:showCatName val="0"/>
          <c:showSerName val="0"/>
          <c:showPercent val="0"/>
          <c:showBubbleSize val="0"/>
        </c:dLbls>
        <c:axId val="1301581984"/>
        <c:axId val="1301310864"/>
      </c:scatterChart>
      <c:valAx>
        <c:axId val="1301581984"/>
        <c:scaling>
          <c:orientation val="minMax"/>
          <c:min val="9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310864"/>
        <c:crosses val="autoZero"/>
        <c:crossBetween val="midCat"/>
      </c:valAx>
      <c:valAx>
        <c:axId val="130131086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581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US" sz="900" baseline="0"/>
              <a:t>Surjek Scatter Plot(Cost to Produce vs. Volume of Water Produced)</a:t>
            </a:r>
            <a:endParaRPr lang="en-US" sz="900"/>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rgbClr val="FBC14E"/>
              </a:solidFill>
              <a:ln w="9525">
                <a:no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Southern Water Corp Economics Case Study MCU Student Facing 30052020.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A625-C445-B909-A74B1FF17BF3}"/>
            </c:ext>
          </c:extLst>
        </c:ser>
        <c:dLbls>
          <c:showLegendKey val="0"/>
          <c:showVal val="0"/>
          <c:showCatName val="0"/>
          <c:showSerName val="0"/>
          <c:showPercent val="0"/>
          <c:showBubbleSize val="0"/>
        </c:dLbls>
        <c:axId val="1301581984"/>
        <c:axId val="1301310864"/>
      </c:scatterChart>
      <c:valAx>
        <c:axId val="1301581984"/>
        <c:scaling>
          <c:orientation val="minMax"/>
          <c:min val="20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310864"/>
        <c:crosses val="autoZero"/>
        <c:crossBetween val="midCat"/>
      </c:valAx>
      <c:valAx>
        <c:axId val="1301310864"/>
        <c:scaling>
          <c:orientation val="minMax"/>
          <c:min val="20"/>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581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US" sz="900"/>
              <a:t>Jutik</a:t>
            </a:r>
            <a:r>
              <a:rPr lang="en-US" sz="900" baseline="0"/>
              <a:t> Scatter Plot(Cost to Produce vs. Volume of Water Produced)</a:t>
            </a:r>
            <a:endParaRPr lang="en-US" sz="900"/>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rgbClr val="C00000"/>
              </a:solidFill>
              <a:ln w="9525">
                <a:no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Southern Water Corp Economics Case Study MCU Student Facing 30052020.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A0C0-8143-86AB-F7E38E666512}"/>
            </c:ext>
          </c:extLst>
        </c:ser>
        <c:dLbls>
          <c:showLegendKey val="0"/>
          <c:showVal val="0"/>
          <c:showCatName val="0"/>
          <c:showSerName val="0"/>
          <c:showPercent val="0"/>
          <c:showBubbleSize val="0"/>
        </c:dLbls>
        <c:axId val="1301581984"/>
        <c:axId val="1301310864"/>
      </c:scatterChart>
      <c:valAx>
        <c:axId val="1301581984"/>
        <c:scaling>
          <c:orientation val="minMax"/>
          <c:min val="14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310864"/>
        <c:crosses val="autoZero"/>
        <c:crossBetween val="midCat"/>
      </c:valAx>
      <c:valAx>
        <c:axId val="1301310864"/>
        <c:scaling>
          <c:orientation val="minMax"/>
          <c:min val="25"/>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15819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rd</a:t>
            </a:r>
            <a:r>
              <a:rPr lang="en-US" baseline="0"/>
              <a:t>+Soft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16</c:f>
              <c:strCache>
                <c:ptCount val="1"/>
                <c:pt idx="0">
                  <c:v>Avg. Quantity of Soft + Hard Water</c:v>
                </c:pt>
              </c:strCache>
            </c:strRef>
          </c:tx>
          <c:spPr>
            <a:ln w="25400" cap="rnd">
              <a:noFill/>
              <a:round/>
            </a:ln>
            <a:effectLst/>
          </c:spPr>
          <c:marker>
            <c:symbol val="circle"/>
            <c:size val="5"/>
            <c:spPr>
              <a:solidFill>
                <a:schemeClr val="accent1"/>
              </a:solidFill>
              <a:ln w="9525">
                <a:no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Southern Water Corp Economics Case Study MCU Student Facing 30052020.xlsx]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7F62-4546-BB0B-836F27C13695}"/>
            </c:ext>
          </c:extLst>
        </c:ser>
        <c:dLbls>
          <c:showLegendKey val="0"/>
          <c:showVal val="0"/>
          <c:showCatName val="0"/>
          <c:showSerName val="0"/>
          <c:showPercent val="0"/>
          <c:showBubbleSize val="0"/>
        </c:dLbls>
        <c:axId val="1505177184"/>
        <c:axId val="1505180080"/>
      </c:scatterChart>
      <c:valAx>
        <c:axId val="1505177184"/>
        <c:scaling>
          <c:orientation val="minMax"/>
          <c:max val="90"/>
          <c:min val="68"/>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80080"/>
        <c:crosses val="autoZero"/>
        <c:crossBetween val="midCat"/>
        <c:majorUnit val="3"/>
      </c:valAx>
      <c:valAx>
        <c:axId val="15051800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n-US" sz="800"/>
                  <a:t>Avg.</a:t>
                </a:r>
                <a:r>
                  <a:rPr lang="en-US" sz="800" baseline="0"/>
                  <a:t> Quanitity of Water(Giga-Litres)</a:t>
                </a:r>
                <a:endParaRPr lang="en-US" sz="80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771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30052020.xlsx]Economic Market Analysis'!$B$19</c:f>
              <c:strCache>
                <c:ptCount val="1"/>
                <c:pt idx="0">
                  <c:v>Avg. Quantity of Hard Water</c:v>
                </c:pt>
              </c:strCache>
            </c:strRef>
          </c:tx>
          <c:spPr>
            <a:ln w="25400" cap="rnd">
              <a:noFill/>
              <a:round/>
            </a:ln>
            <a:effectLst/>
          </c:spPr>
          <c:marker>
            <c:symbol val="circle"/>
            <c:size val="5"/>
            <c:spPr>
              <a:solidFill>
                <a:srgbClr val="FFC000"/>
              </a:solidFill>
              <a:ln w="9525">
                <a:noFill/>
              </a:ln>
              <a:effectLst/>
            </c:spPr>
          </c:marker>
          <c:trendline>
            <c:spPr>
              <a:ln w="19050" cap="rnd">
                <a:solidFill>
                  <a:schemeClr val="accent1"/>
                </a:solidFill>
                <a:prstDash val="sysDot"/>
              </a:ln>
              <a:effectLst/>
            </c:spPr>
            <c:trendlineType val="linear"/>
            <c:dispRSqr val="0"/>
            <c:dispEq val="0"/>
          </c:trendline>
          <c:xVal>
            <c:numRef>
              <c:f>'[Southern Water Corp Economics Case Study MCU Student Facing 30052020.xlsx]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Southern Water Corp Economics Case Study MCU Student Facing 30052020.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2224-1C41-8A9B-1A38B332E66C}"/>
            </c:ext>
          </c:extLst>
        </c:ser>
        <c:dLbls>
          <c:showLegendKey val="0"/>
          <c:showVal val="0"/>
          <c:showCatName val="0"/>
          <c:showSerName val="0"/>
          <c:showPercent val="0"/>
          <c:showBubbleSize val="0"/>
        </c:dLbls>
        <c:axId val="1505177184"/>
        <c:axId val="1505180080"/>
      </c:scatterChart>
      <c:valAx>
        <c:axId val="1505177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80080"/>
        <c:crosses val="autoZero"/>
        <c:crossBetween val="midCat"/>
      </c:valAx>
      <c:valAx>
        <c:axId val="15051800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n-US" sz="800"/>
                  <a:t>Avg.</a:t>
                </a:r>
                <a:r>
                  <a:rPr lang="en-US" sz="800" baseline="0"/>
                  <a:t> Quanitity of Water(Giga-Litres)</a:t>
                </a:r>
                <a:endParaRPr lang="en-US" sz="80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51771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3/8/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4090134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a:p>
        </p:txBody>
      </p:sp>
    </p:spTree>
    <p:extLst>
      <p:ext uri="{BB962C8B-B14F-4D97-AF65-F5344CB8AC3E}">
        <p14:creationId xmlns:p14="http://schemas.microsoft.com/office/powerpoint/2010/main" val="21063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a:p>
        </p:txBody>
      </p:sp>
    </p:spTree>
    <p:extLst>
      <p:ext uri="{BB962C8B-B14F-4D97-AF65-F5344CB8AC3E}">
        <p14:creationId xmlns:p14="http://schemas.microsoft.com/office/powerpoint/2010/main" val="4268899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2573207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5</a:t>
            </a:fld>
            <a:endParaRPr lang="en-AU"/>
          </a:p>
        </p:txBody>
      </p:sp>
    </p:spTree>
    <p:extLst>
      <p:ext uri="{BB962C8B-B14F-4D97-AF65-F5344CB8AC3E}">
        <p14:creationId xmlns:p14="http://schemas.microsoft.com/office/powerpoint/2010/main" val="3913171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10.xml"/><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13.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80.17% reduction in Surjek’s Revenues ($294.8M) due to the Maintenance Outage, Quarter 3 presents the best balance of revenue-loss mitigation with respect to market pricing, as opposed to Quarter 1 which represents the highest demand (2406.09 GL) and Water Balancing Market Prices ($86.83).</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6A2873D0-E059-DF47-AEF6-AE727B8A97B4}"/>
              </a:ext>
            </a:extLst>
          </p:cNvPr>
          <p:cNvGraphicFramePr>
            <a:graphicFrameLocks/>
          </p:cNvGraphicFramePr>
          <p:nvPr>
            <p:extLst>
              <p:ext uri="{D42A27DB-BD31-4B8C-83A1-F6EECF244321}">
                <p14:modId xmlns:p14="http://schemas.microsoft.com/office/powerpoint/2010/main" val="2882361160"/>
              </p:ext>
            </p:extLst>
          </p:nvPr>
        </p:nvGraphicFramePr>
        <p:xfrm>
          <a:off x="171449" y="3537613"/>
          <a:ext cx="8439149" cy="2651295"/>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318BBE44-1D9A-5142-B5E5-EDB1480FEE76}"/>
              </a:ext>
            </a:extLst>
          </p:cNvPr>
          <p:cNvCxnSpPr>
            <a:cxnSpLocks/>
          </p:cNvCxnSpPr>
          <p:nvPr/>
        </p:nvCxnSpPr>
        <p:spPr>
          <a:xfrm>
            <a:off x="4480719" y="5843239"/>
            <a:ext cx="1652452"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CAE3F1BB-7639-0844-BD45-9E7585D6BB29}"/>
              </a:ext>
            </a:extLst>
          </p:cNvPr>
          <p:cNvGraphicFramePr>
            <a:graphicFrameLocks/>
          </p:cNvGraphicFramePr>
          <p:nvPr>
            <p:extLst>
              <p:ext uri="{D42A27DB-BD31-4B8C-83A1-F6EECF244321}">
                <p14:modId xmlns:p14="http://schemas.microsoft.com/office/powerpoint/2010/main" val="2460706785"/>
              </p:ext>
            </p:extLst>
          </p:nvPr>
        </p:nvGraphicFramePr>
        <p:xfrm>
          <a:off x="171449" y="878235"/>
          <a:ext cx="8439149" cy="2659378"/>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E5480893-D89A-D34B-BB69-645B33650A09}"/>
              </a:ext>
            </a:extLst>
          </p:cNvPr>
          <p:cNvSpPr/>
          <p:nvPr/>
        </p:nvSpPr>
        <p:spPr>
          <a:xfrm>
            <a:off x="7382106" y="3256154"/>
            <a:ext cx="323387" cy="281459"/>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860685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309.48/ML) followed by </a:t>
            </a:r>
            <a:r>
              <a:rPr lang="en-GB" sz="1200" b="1" dirty="0" err="1"/>
              <a:t>Jutik</a:t>
            </a:r>
            <a:r>
              <a:rPr lang="en-GB" sz="1200" b="1" dirty="0"/>
              <a:t> ($433.54/ML) and lastly </a:t>
            </a:r>
            <a:r>
              <a:rPr lang="en-GB" sz="1200" b="1" dirty="0" err="1"/>
              <a:t>Surjek</a:t>
            </a:r>
            <a:r>
              <a:rPr lang="en-GB" sz="1200" b="1" dirty="0"/>
              <a:t> ($668.45/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477B4160-3CB8-B24C-83DA-804832D0BBC1}"/>
              </a:ext>
            </a:extLst>
          </p:cNvPr>
          <p:cNvGraphicFramePr>
            <a:graphicFrameLocks/>
          </p:cNvGraphicFramePr>
          <p:nvPr>
            <p:extLst>
              <p:ext uri="{D42A27DB-BD31-4B8C-83A1-F6EECF244321}">
                <p14:modId xmlns:p14="http://schemas.microsoft.com/office/powerpoint/2010/main" val="2692470653"/>
              </p:ext>
            </p:extLst>
          </p:nvPr>
        </p:nvGraphicFramePr>
        <p:xfrm>
          <a:off x="171450" y="3702199"/>
          <a:ext cx="8439148" cy="25647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3EA8F878-2349-0A4C-B045-B662375BBC1D}"/>
              </a:ext>
            </a:extLst>
          </p:cNvPr>
          <p:cNvGraphicFramePr>
            <a:graphicFrameLocks/>
          </p:cNvGraphicFramePr>
          <p:nvPr>
            <p:extLst>
              <p:ext uri="{D42A27DB-BD31-4B8C-83A1-F6EECF244321}">
                <p14:modId xmlns:p14="http://schemas.microsoft.com/office/powerpoint/2010/main" val="1805521585"/>
              </p:ext>
            </p:extLst>
          </p:nvPr>
        </p:nvGraphicFramePr>
        <p:xfrm>
          <a:off x="171449" y="879642"/>
          <a:ext cx="8439147" cy="28225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95996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92A3F708-0D70-5C44-84EF-F787ABB1C68A}"/>
              </a:ext>
            </a:extLst>
          </p:cNvPr>
          <p:cNvGraphicFramePr>
            <a:graphicFrameLocks/>
          </p:cNvGraphicFramePr>
          <p:nvPr>
            <p:extLst>
              <p:ext uri="{D42A27DB-BD31-4B8C-83A1-F6EECF244321}">
                <p14:modId xmlns:p14="http://schemas.microsoft.com/office/powerpoint/2010/main" val="2055739419"/>
              </p:ext>
            </p:extLst>
          </p:nvPr>
        </p:nvGraphicFramePr>
        <p:xfrm>
          <a:off x="171451" y="1025915"/>
          <a:ext cx="8439148" cy="23348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1DD79CE4-2798-724C-A136-9596B196D2BC}"/>
              </a:ext>
            </a:extLst>
          </p:cNvPr>
          <p:cNvGraphicFramePr>
            <a:graphicFrameLocks/>
          </p:cNvGraphicFramePr>
          <p:nvPr>
            <p:extLst>
              <p:ext uri="{D42A27DB-BD31-4B8C-83A1-F6EECF244321}">
                <p14:modId xmlns:p14="http://schemas.microsoft.com/office/powerpoint/2010/main" val="1938747281"/>
              </p:ext>
            </p:extLst>
          </p:nvPr>
        </p:nvGraphicFramePr>
        <p:xfrm>
          <a:off x="171451" y="3360737"/>
          <a:ext cx="4334161" cy="29508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F1324ECA-61D2-2E46-AB0C-74DB522A4970}"/>
              </a:ext>
            </a:extLst>
          </p:cNvPr>
          <p:cNvGraphicFramePr>
            <a:graphicFrameLocks/>
          </p:cNvGraphicFramePr>
          <p:nvPr>
            <p:extLst>
              <p:ext uri="{D42A27DB-BD31-4B8C-83A1-F6EECF244321}">
                <p14:modId xmlns:p14="http://schemas.microsoft.com/office/powerpoint/2010/main" val="4119255256"/>
              </p:ext>
            </p:extLst>
          </p:nvPr>
        </p:nvGraphicFramePr>
        <p:xfrm>
          <a:off x="4391025" y="3360737"/>
          <a:ext cx="4219574" cy="295084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5172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 Hard Water tends to be relatively price elastic regardless of quantity purchased, whilst Soft Water is more representative of an in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8495FD33-EAE1-F643-BAFA-6BE2741A2881}"/>
              </a:ext>
            </a:extLst>
          </p:cNvPr>
          <p:cNvGraphicFramePr>
            <a:graphicFrameLocks/>
          </p:cNvGraphicFramePr>
          <p:nvPr>
            <p:extLst>
              <p:ext uri="{D42A27DB-BD31-4B8C-83A1-F6EECF244321}">
                <p14:modId xmlns:p14="http://schemas.microsoft.com/office/powerpoint/2010/main" val="3233476462"/>
              </p:ext>
            </p:extLst>
          </p:nvPr>
        </p:nvGraphicFramePr>
        <p:xfrm>
          <a:off x="171451" y="985601"/>
          <a:ext cx="8439149" cy="23751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FC70B19D-5FBA-9142-A931-C1BDA4633E95}"/>
              </a:ext>
            </a:extLst>
          </p:cNvPr>
          <p:cNvGraphicFramePr>
            <a:graphicFrameLocks/>
          </p:cNvGraphicFramePr>
          <p:nvPr>
            <p:extLst>
              <p:ext uri="{D42A27DB-BD31-4B8C-83A1-F6EECF244321}">
                <p14:modId xmlns:p14="http://schemas.microsoft.com/office/powerpoint/2010/main" val="2749547036"/>
              </p:ext>
            </p:extLst>
          </p:nvPr>
        </p:nvGraphicFramePr>
        <p:xfrm>
          <a:off x="171451" y="3360737"/>
          <a:ext cx="4309268" cy="30846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a:extLst>
              <a:ext uri="{FF2B5EF4-FFF2-40B4-BE49-F238E27FC236}">
                <a16:creationId xmlns:a16="http://schemas.microsoft.com/office/drawing/2014/main" id="{F08C53F0-8FF3-2947-9CF0-3E5AABA5DC7B}"/>
              </a:ext>
            </a:extLst>
          </p:cNvPr>
          <p:cNvGraphicFramePr>
            <a:graphicFrameLocks/>
          </p:cNvGraphicFramePr>
          <p:nvPr>
            <p:extLst>
              <p:ext uri="{D42A27DB-BD31-4B8C-83A1-F6EECF244321}">
                <p14:modId xmlns:p14="http://schemas.microsoft.com/office/powerpoint/2010/main" val="3434609139"/>
              </p:ext>
            </p:extLst>
          </p:nvPr>
        </p:nvGraphicFramePr>
        <p:xfrm>
          <a:off x="4391025" y="3360737"/>
          <a:ext cx="4219575" cy="308466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3663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85144"/>
            <a:ext cx="8737599" cy="646331"/>
          </a:xfrm>
        </p:spPr>
        <p:txBody>
          <a:bodyPr/>
          <a:lstStyle/>
          <a:p>
            <a:pPr algn="just"/>
            <a:r>
              <a:rPr lang="en-GB" sz="1400" b="1" dirty="0"/>
              <a:t>Lastly, when viewing the economic pricing data from an micro-perspective, it is indicative that Soft Water is seen as more of a ‘less core’ product than that of Hard Water whose price remains largely flexibl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4AEEF814-D1A3-B748-88A9-F01FEC2FB9C4}"/>
              </a:ext>
            </a:extLst>
          </p:cNvPr>
          <p:cNvGraphicFramePr>
            <a:graphicFrameLocks/>
          </p:cNvGraphicFramePr>
          <p:nvPr>
            <p:extLst>
              <p:ext uri="{D42A27DB-BD31-4B8C-83A1-F6EECF244321}">
                <p14:modId xmlns:p14="http://schemas.microsoft.com/office/powerpoint/2010/main" val="1986571119"/>
              </p:ext>
            </p:extLst>
          </p:nvPr>
        </p:nvGraphicFramePr>
        <p:xfrm>
          <a:off x="171450" y="1050362"/>
          <a:ext cx="8439149" cy="23103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4AEEF814-D1A3-B748-88A9-F01FEC2FB9C4}"/>
              </a:ext>
            </a:extLst>
          </p:cNvPr>
          <p:cNvGraphicFramePr>
            <a:graphicFrameLocks/>
          </p:cNvGraphicFramePr>
          <p:nvPr>
            <p:extLst>
              <p:ext uri="{D42A27DB-BD31-4B8C-83A1-F6EECF244321}">
                <p14:modId xmlns:p14="http://schemas.microsoft.com/office/powerpoint/2010/main" val="3430614526"/>
              </p:ext>
            </p:extLst>
          </p:nvPr>
        </p:nvGraphicFramePr>
        <p:xfrm>
          <a:off x="171450" y="3360737"/>
          <a:ext cx="4309269" cy="30735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4AEEF814-D1A3-B748-88A9-F01FEC2FB9C4}"/>
              </a:ext>
            </a:extLst>
          </p:cNvPr>
          <p:cNvGraphicFramePr>
            <a:graphicFrameLocks/>
          </p:cNvGraphicFramePr>
          <p:nvPr>
            <p:extLst>
              <p:ext uri="{D42A27DB-BD31-4B8C-83A1-F6EECF244321}">
                <p14:modId xmlns:p14="http://schemas.microsoft.com/office/powerpoint/2010/main" val="3254917642"/>
              </p:ext>
            </p:extLst>
          </p:nvPr>
        </p:nvGraphicFramePr>
        <p:xfrm>
          <a:off x="4391024" y="3360736"/>
          <a:ext cx="4219575" cy="30735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1443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Sheets">
    <a:dk1>
      <a:srgbClr val="000000"/>
    </a:dk1>
    <a:lt1>
      <a:srgbClr val="FFFFFF"/>
    </a:lt1>
    <a:dk2>
      <a:srgbClr val="000000"/>
    </a:dk2>
    <a:lt2>
      <a:srgbClr val="FFFFFF"/>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563C1"/>
    </a:folHlink>
  </a:clrScheme>
  <a:fontScheme name="Sheets">
    <a:majorFont>
      <a:latin typeface="Calibri"/>
      <a:ea typeface="Calibri"/>
      <a:cs typeface="Calibri"/>
    </a:majorFont>
    <a:minorFont>
      <a:latin typeface="Calibri"/>
      <a:ea typeface="Calibri"/>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6967</TotalTime>
  <Words>406</Words>
  <Application>Microsoft Macintosh PowerPoint</Application>
  <PresentationFormat>Custom</PresentationFormat>
  <Paragraphs>37</Paragraphs>
  <Slides>5</Slides>
  <Notes>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80.17% reduction in Surjek’s Revenues ($294.8M) due to the Maintenance Outage, Quarter 3 presents the best balance of revenue-loss mitigation with respect to market pricing, as opposed to Quarter 1 which represents the highest demand (2406.09 GL) and Water Balancing Market Prices ($86.83).</vt:lpstr>
      <vt:lpstr>Of the three Desalination Plants, all three remain profitable at current market prices by a favourable margin; Clearly Kootha is the most cost-effective ($309.48/ML) followed by Jutik ($433.54/ML) and lastly Surjek ($668.45/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elastic regardless of quantity purchased, whilst Soft Water is more representative of an inelastic price-to-volume relationship.</vt:lpstr>
      <vt:lpstr>Lastly, when viewing the economic pricing data from an micro-perspective, it is indicative that Soft Water is seen as more of a ‘less core’ product than that of Hard Water whose price remains largely flexi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eonard Fernando</cp:lastModifiedBy>
  <cp:revision>83</cp:revision>
  <dcterms:created xsi:type="dcterms:W3CDTF">2020-04-12T13:23:13Z</dcterms:created>
  <dcterms:modified xsi:type="dcterms:W3CDTF">2020-08-24T03:24:54Z</dcterms:modified>
</cp:coreProperties>
</file>